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charts/chartEx1.xml" ContentType="application/vnd.ms-office.chartex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1"/>
  </p:sldMasterIdLst>
  <p:notesMasterIdLst>
    <p:notesMasterId r:id="rId3"/>
  </p:notesMasterIdLst>
  <p:sldIdLst>
    <p:sldId id="2147375138" r:id="rId2"/>
  </p:sldIdLst>
  <p:sldSz cx="18288000" cy="10287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98D9D5"/>
    <a:srgbClr val="E67E22"/>
    <a:srgbClr val="28B1A7"/>
    <a:srgbClr val="19447A"/>
    <a:srgbClr val="409FA6"/>
    <a:srgbClr val="FFFFFF"/>
    <a:srgbClr val="176B86"/>
    <a:srgbClr val="195480"/>
    <a:srgbClr val="24AF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72" autoAdjust="0"/>
    <p:restoredTop sz="96247" autoAdjust="0"/>
  </p:normalViewPr>
  <p:slideViewPr>
    <p:cSldViewPr>
      <p:cViewPr varScale="1">
        <p:scale>
          <a:sx n="74" d="100"/>
          <a:sy n="74" d="100"/>
        </p:scale>
        <p:origin x="684" y="5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1356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charts/_rels/chartEx1.xml.rels><?xml version="1.0" encoding="UTF-8" standalone="yes"?>
<Relationships xmlns="http://schemas.openxmlformats.org/package/2006/relationships"><Relationship Id="rId3" Type="http://schemas.microsoft.com/office/2011/relationships/chartColorStyle" Target="colors1.xml"/><Relationship Id="rId2" Type="http://schemas.microsoft.com/office/2011/relationships/chartStyle" Target="style1.xml"/><Relationship Id="rId1" Type="http://schemas.openxmlformats.org/officeDocument/2006/relationships/package" Target="../embeddings/Microsoft_Excel_Worksheet.xlsx"/></Relationships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Sheet1!$A$2:$A$9</cx:f>
        <cx:lvl ptCount="8">
          <cx:pt idx="0">Category 1</cx:pt>
          <cx:pt idx="1">Category 2</cx:pt>
          <cx:pt idx="2">Category 3</cx:pt>
          <cx:pt idx="3">Category 4</cx:pt>
          <cx:pt idx="4">Category 5</cx:pt>
          <cx:pt idx="5">Category 6</cx:pt>
          <cx:pt idx="6">Category 7</cx:pt>
          <cx:pt idx="7">Category 8</cx:pt>
        </cx:lvl>
      </cx:strDim>
      <cx:numDim type="val">
        <cx:f>Sheet1!$B$2:$B$9</cx:f>
        <cx:lvl ptCount="8" formatCode="General">
          <cx:pt idx="0">100</cx:pt>
          <cx:pt idx="1">20</cx:pt>
          <cx:pt idx="2">50</cx:pt>
          <cx:pt idx="3">-40</cx:pt>
          <cx:pt idx="4">130</cx:pt>
          <cx:pt idx="5">-60</cx:pt>
          <cx:pt idx="6">70</cx:pt>
          <cx:pt idx="7">140</cx:pt>
        </cx:lvl>
      </cx:numDim>
    </cx:data>
  </cx:chartData>
  <cx:chart>
    <cx:plotArea>
      <cx:plotAreaRegion>
        <cx:series layoutId="waterfall" uniqueId="{ED37DDC8-A966-42E2-AA58-D98C2AE2572F}">
          <cx:tx>
            <cx:txData>
              <cx:f>Sheet1!$B$1</cx:f>
              <cx:v>Series1</cx:v>
            </cx:txData>
          </cx:tx>
          <cx:spPr>
            <a:ln>
              <a:noFill/>
            </a:ln>
          </cx:spPr>
          <cx:dataId val="0"/>
          <cx:layoutPr>
            <cx:subtotals>
              <cx:idx val="0"/>
              <cx:idx val="4"/>
              <cx:idx val="7"/>
            </cx:subtotals>
          </cx:layoutPr>
        </cx:series>
      </cx:plotAreaRegion>
      <cx:axis id="0">
        <cx:catScaling gapWidth="1"/>
        <cx:tickLabels/>
        <cx:spPr>
          <a:ln>
            <a:solidFill>
              <a:schemeClr val="bg1">
                <a:lumMod val="85000"/>
              </a:schemeClr>
            </a:solidFill>
          </a:ln>
        </cx:spPr>
        <cx:txPr>
          <a:bodyPr vertOverflow="overflow" horzOverflow="overflow" wrap="square" lIns="0" tIns="0" rIns="0" bIns="0"/>
          <a:lstStyle/>
          <a:p>
            <a:pPr algn="ctr" rtl="0">
              <a:defRPr sz="1400" b="0" i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pPr>
            <a:endParaRPr lang="en-US" sz="1400">
              <a:solidFill>
                <a:schemeClr val="tx1"/>
              </a:solidFill>
            </a:endParaRPr>
          </a:p>
        </cx:txPr>
      </cx:axis>
      <cx:axis id="1">
        <cx:valScaling/>
        <cx:tickLabels/>
        <cx:spPr>
          <a:ln>
            <a:solidFill>
              <a:schemeClr val="bg1">
                <a:lumMod val="85000"/>
              </a:schemeClr>
            </a:solidFill>
          </a:ln>
        </cx:spPr>
        <cx:txPr>
          <a:bodyPr vertOverflow="overflow" horzOverflow="overflow" wrap="square" lIns="0" tIns="0" rIns="0" bIns="0"/>
          <a:lstStyle/>
          <a:p>
            <a:pPr algn="ctr" rtl="0">
              <a:defRPr sz="1400" b="0" i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pPr>
            <a:endParaRPr lang="en-US" sz="1400">
              <a:solidFill>
                <a:schemeClr val="tx1"/>
              </a:solidFill>
            </a:endParaRPr>
          </a:p>
        </cx:txPr>
      </cx:axis>
    </cx:plotArea>
    <cx:legend pos="t" align="ctr" overlay="0">
      <cx:txPr>
        <a:bodyPr spcFirstLastPara="1" vertOverflow="ellipsis" horzOverflow="overflow" wrap="square" lIns="0" tIns="0" rIns="0" bIns="0" anchor="ctr" anchorCtr="1"/>
        <a:lstStyle/>
        <a:p>
          <a:pPr algn="ctr" rtl="0">
            <a:defRPr sz="1400">
              <a:solidFill>
                <a:schemeClr val="tx1"/>
              </a:solidFill>
            </a:defRPr>
          </a:pPr>
          <a:endParaRPr lang="en-US" sz="1400" b="0" i="0" u="none" strike="noStrike" baseline="0">
            <a:solidFill>
              <a:schemeClr val="tx1"/>
            </a:solidFill>
            <a:latin typeface="Arial"/>
          </a:endParaRPr>
        </a:p>
      </cx:txPr>
    </cx:legend>
  </cx:chart>
  <cx:fmtOvrs>
    <cx:fmtOvr idx="2">
      <cx:spPr>
        <a:solidFill>
          <a:schemeClr val="accent1"/>
        </a:solidFill>
      </cx:spPr>
    </cx:fmtOvr>
    <cx:fmtOvr idx="1">
      <cx:spPr>
        <a:solidFill>
          <a:schemeClr val="accent5"/>
        </a:solidFill>
      </cx:spPr>
    </cx:fmtOvr>
    <cx:fmtOvr idx="0">
      <cx:spPr>
        <a:solidFill>
          <a:schemeClr val="accent2"/>
        </a:solidFill>
      </cx:spPr>
    </cx:fmtOvr>
  </cx:fmtOvrs>
</cx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99">
  <cs:axisTitle>
    <cs:lnRef idx="0"/>
    <cs:fillRef idx="0"/>
    <cs:effectRef idx="0"/>
    <cs:fontRef idx="minor">
      <a:schemeClr val="tx2"/>
    </cs:fontRef>
    <cs:defRPr sz="1197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/>
  </cs:chartArea>
  <cs:dataLabel>
    <cs:lnRef idx="0"/>
    <cs:fillRef idx="0"/>
    <cs:effectRef idx="0"/>
    <cs:fontRef idx="minor">
      <a:schemeClr val="tx2"/>
    </cs:fontRef>
    <cs:defRPr sz="1197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2"/>
    </cs:fontRef>
    <cs:spPr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cs:spPr>
  </cs:dataPoint>
  <cs:dataPoint3D>
    <cs:lnRef idx="0"/>
    <cs:fillRef idx="0">
      <cs:styleClr val="auto"/>
    </cs:fillRef>
    <cs:effectRef idx="0"/>
    <cs:fontRef idx="minor">
      <a:schemeClr val="tx2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2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2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2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15000"/>
            <a:lumOff val="85000"/>
            <a:lumOff val="10000"/>
          </a:schemeClr>
        </a:solidFill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2"/>
    </cs:fontRef>
    <cs:defRPr sz="1197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2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2"/>
    </cs:fontRef>
    <cs:defRPr sz="2128" b="1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1197"/>
  </cs:valueAxis>
  <cs:wall>
    <cs:lnRef idx="0"/>
    <cs:fillRef idx="0"/>
    <cs:effectRef idx="0"/>
    <cs:fontRef idx="minor">
      <a:schemeClr val="tx2"/>
    </cs:fontRef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4A9DF2-70EC-4B96-A053-2561A61F337D}" type="datetimeFigureOut">
              <a:rPr lang="en-US" smtClean="0"/>
              <a:t>10/6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588163-CFC1-4ACA-9600-FB08ECAA64C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2730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18" name="Rectangle: Top Corners Rounded 17">
            <a:extLst>
              <a:ext uri="{FF2B5EF4-FFF2-40B4-BE49-F238E27FC236}">
                <a16:creationId xmlns:a16="http://schemas.microsoft.com/office/drawing/2014/main" id="{3291871F-0CB1-875A-9049-68A6FF376A9F}"/>
              </a:ext>
            </a:extLst>
          </p:cNvPr>
          <p:cNvSpPr/>
          <p:nvPr userDrawn="1"/>
        </p:nvSpPr>
        <p:spPr>
          <a:xfrm rot="16200000">
            <a:off x="13724272" y="4965082"/>
            <a:ext cx="8770621" cy="35683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2195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16859250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16859250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5A63069-1EAF-AC1C-97F9-C6A4F1AC74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76448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18F72F67-E422-837C-5299-028113A715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8983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5E5A91E-2C73-14D1-B898-2EBE3672C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18951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93705F-9234-C263-3A1B-3A252A19B0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19039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504063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1369314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36688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9E0C1D-F688-75FA-168B-CF3FAA201C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54846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218918" y="1889655"/>
            <a:ext cx="6354707" cy="732557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1889655"/>
            <a:ext cx="10230224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B0F2C62-4F31-15FD-84E2-56D51B71A4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2185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42556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1213675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5A7FA16-0C02-E692-8526-16F583C3F04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42B77EF-A62E-AAFD-BC1D-629764A00EC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42556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E870889-49DC-DDA8-AC0C-91F97C821391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1213675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50601D-DC9F-2EFA-8CF3-B8A12ACF30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5453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074A52-9FFC-AC39-C5C6-B5E84AC597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22253" y="317500"/>
            <a:ext cx="9420224" cy="126682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42FC55-4D2C-6A55-9DC3-D3F5645AFA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122253" y="9520560"/>
            <a:ext cx="7776000" cy="4489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DAABA0-A95A-CC14-B3A9-50073A443C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4638F13-1CD3-7690-D13A-99CF303E4C3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315200" cy="10287000"/>
          </a:xfrm>
          <a:pattFill prst="pct5">
            <a:fgClr>
              <a:schemeClr val="bg1">
                <a:lumMod val="5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79370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49" y="321983"/>
            <a:ext cx="17016168" cy="110170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8649" y="1893095"/>
            <a:ext cx="17015045" cy="571261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810818" y="9975444"/>
            <a:ext cx="2477183" cy="310614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8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566080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BFB0A42F-E6A3-CB96-9852-85C86F511AD6}"/>
              </a:ext>
            </a:extLst>
          </p:cNvPr>
          <p:cNvGrpSpPr/>
          <p:nvPr userDrawn="1"/>
        </p:nvGrpSpPr>
        <p:grpSpPr>
          <a:xfrm>
            <a:off x="11692218" y="0"/>
            <a:ext cx="6595782" cy="10287000"/>
            <a:chOff x="7794812" y="0"/>
            <a:chExt cx="4397188" cy="6858000"/>
          </a:xfrm>
        </p:grpSpPr>
        <p:sp>
          <p:nvSpPr>
            <p:cNvPr id="9" name="Isosceles Triangle 8">
              <a:extLst>
                <a:ext uri="{FF2B5EF4-FFF2-40B4-BE49-F238E27FC236}">
                  <a16:creationId xmlns:a16="http://schemas.microsoft.com/office/drawing/2014/main" id="{04244303-0891-69A8-2D9D-161F4AE9C4AF}"/>
                </a:ext>
              </a:extLst>
            </p:cNvPr>
            <p:cNvSpPr/>
            <p:nvPr/>
          </p:nvSpPr>
          <p:spPr>
            <a:xfrm flipH="1">
              <a:off x="7794812" y="1371600"/>
              <a:ext cx="4397188" cy="5486400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EAA11CFF-61B1-248D-7099-2F8686DECDAB}"/>
                </a:ext>
              </a:extLst>
            </p:cNvPr>
            <p:cNvSpPr/>
            <p:nvPr/>
          </p:nvSpPr>
          <p:spPr>
            <a:xfrm flipH="1">
              <a:off x="11261904" y="1371600"/>
              <a:ext cx="930096" cy="2407024"/>
            </a:xfrm>
            <a:custGeom>
              <a:avLst/>
              <a:gdLst>
                <a:gd name="connsiteX0" fmla="*/ 0 w 930096"/>
                <a:gd name="connsiteY0" fmla="*/ 0 h 2407024"/>
                <a:gd name="connsiteX1" fmla="*/ 0 w 930096"/>
                <a:gd name="connsiteY1" fmla="*/ 2407024 h 2407024"/>
                <a:gd name="connsiteX2" fmla="*/ 930096 w 930096"/>
                <a:gd name="connsiteY2" fmla="*/ 1160488 h 240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0096" h="2407024">
                  <a:moveTo>
                    <a:pt x="0" y="0"/>
                  </a:moveTo>
                  <a:lnTo>
                    <a:pt x="0" y="2407024"/>
                  </a:lnTo>
                  <a:lnTo>
                    <a:pt x="930096" y="116048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606BB107-8387-8780-6BFC-A3410E9BB552}"/>
                </a:ext>
              </a:extLst>
            </p:cNvPr>
            <p:cNvSpPr/>
            <p:nvPr/>
          </p:nvSpPr>
          <p:spPr>
            <a:xfrm rot="10800000">
              <a:off x="9838765" y="0"/>
              <a:ext cx="2353235" cy="3778624"/>
            </a:xfrm>
            <a:prstGeom prst="triangle">
              <a:avLst>
                <a:gd name="adj" fmla="val 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</p:grpSp>
    </p:spTree>
    <p:extLst>
      <p:ext uri="{BB962C8B-B14F-4D97-AF65-F5344CB8AC3E}">
        <p14:creationId xmlns:p14="http://schemas.microsoft.com/office/powerpoint/2010/main" val="7833343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4375" y="1889656"/>
            <a:ext cx="1685925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22D0E30-8C97-0C62-9094-8D3CF38657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600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/3 Chart and 1/3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7654" y="1889656"/>
            <a:ext cx="537597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11026079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303149-442B-8EAA-BA7D-E9F6CCBA73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24686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/2 Chart and 1/2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5" y="317500"/>
            <a:ext cx="16859250" cy="1266827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2600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51410E-3F60-2499-76A8-F25BD0C1A9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0725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3A7D6DD-B72F-C610-7786-CA13806E4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76848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9D74F7B4-56BE-27DF-FDAA-A1BCDA9A8F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30550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13">
            <a:extLst>
              <a:ext uri="{FF2B5EF4-FFF2-40B4-BE49-F238E27FC236}">
                <a16:creationId xmlns:a16="http://schemas.microsoft.com/office/drawing/2014/main" id="{0C3A3381-05D7-EDB1-879C-6EB643DC25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8479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3D2462CD-6AA5-05E5-182A-40899E86BAD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226408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2" name="Picture Placeholder 13">
            <a:extLst>
              <a:ext uri="{FF2B5EF4-FFF2-40B4-BE49-F238E27FC236}">
                <a16:creationId xmlns:a16="http://schemas.microsoft.com/office/drawing/2014/main" id="{BA0F11DD-391D-B2C8-92A6-95898DED8AA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4024336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13">
            <a:extLst>
              <a:ext uri="{FF2B5EF4-FFF2-40B4-BE49-F238E27FC236}">
                <a16:creationId xmlns:a16="http://schemas.microsoft.com/office/drawing/2014/main" id="{A5B87F88-1840-FD6F-7724-6FBDEB1A574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630550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8" name="Picture Placeholder 13">
            <a:extLst>
              <a:ext uri="{FF2B5EF4-FFF2-40B4-BE49-F238E27FC236}">
                <a16:creationId xmlns:a16="http://schemas.microsoft.com/office/drawing/2014/main" id="{A7D84A63-B331-8622-DDC5-4D5301BF64A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428479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77DEBFB9-8C26-FDCE-39F7-E63395BC7EB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226408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44BA52C7-035F-7148-BCE9-2371B4EBE33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4024336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F14FA3A6-A823-22B9-EE66-97CF5C1DEA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8209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5464D427-2C6E-5D04-E3B7-B54B4CFF37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4374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1A55B09E-E458-56A4-BEBD-E3518AA50A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043486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D9712A65-1E55-1AAC-1F49-8686E5090E4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372598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138BBE78-D23B-C548-90A3-628D17816A8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3701711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1C935983-7755-5154-519D-9FE5EBA80E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4352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*3 Gri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2BE1B0A-3EFA-CDCD-ACC1-0E1BD80F69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1675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3077C04-EE84-814F-7B2F-0CC65C0D53C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714375" y="1889656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293B461-3AC5-965C-0E00-0FEB9D48CE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2556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7D520F5-6EC0-AC8D-1668-71F10795B5C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425564" y="189462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08B1C77-9500-179A-EE6E-18BD895ED01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1213675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B8B7790-3428-1A55-8625-94F1FC2419D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12136754" y="189462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A4714B2-4ED7-3602-5E04-E68455AC5979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01675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916D0D2-1072-1B37-B2A3-E84B806E1C92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14375" y="5689604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F92FDE-4A52-5B65-C311-BCA14C41BB6A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42556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6A15F03-CC85-9E5B-73B8-2E73B47E40C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425564" y="568960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9A53EF9-EA9A-60BD-3F5E-3045DE69141C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1213675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79413566-88CF-1923-92B0-48B2B74519A2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12136754" y="568960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05ACDC91-19E7-0788-BDCD-F383247D74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81846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F66BD8F-401F-2DBF-0BEE-85CAEC4F13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635584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347" imgH="348" progId="TCLayout.ActiveDocument.1">
                  <p:embed/>
                </p:oleObj>
              </mc:Choice>
              <mc:Fallback>
                <p:oleObj name="think-cell Slide" r:id="rId21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66BD8F-401F-2DBF-0BEE-85CAEC4F13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E4C60E1-108D-7890-2148-7CDB8BD50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527DE4-6E8F-79F4-2C2B-8BC05FCBFF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4375" y="1889656"/>
            <a:ext cx="16859250" cy="73255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8E5665-37C2-54D6-D1C6-35E05DF839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773525" y="9501500"/>
            <a:ext cx="800100" cy="46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959F2CA7-B6BF-8125-5E2E-6835373F22E4}"/>
              </a:ext>
            </a:extLst>
          </p:cNvPr>
          <p:cNvSpPr/>
          <p:nvPr userDrawn="1"/>
        </p:nvSpPr>
        <p:spPr>
          <a:xfrm rot="5400000" flipH="1">
            <a:off x="-492444" y="809943"/>
            <a:ext cx="1289687" cy="3048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D220426-4054-0550-CCFE-D2AFE3352B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05200" y="9520560"/>
            <a:ext cx="8466600" cy="44894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AC737F1-E18A-A2F6-7406-C694B5585016}"/>
              </a:ext>
            </a:extLst>
          </p:cNvPr>
          <p:cNvSpPr/>
          <p:nvPr userDrawn="1"/>
        </p:nvSpPr>
        <p:spPr>
          <a:xfrm>
            <a:off x="742950" y="9501500"/>
            <a:ext cx="2381250" cy="551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go Placeholder</a:t>
            </a:r>
          </a:p>
        </p:txBody>
      </p:sp>
    </p:spTree>
    <p:extLst>
      <p:ext uri="{BB962C8B-B14F-4D97-AF65-F5344CB8AC3E}">
        <p14:creationId xmlns:p14="http://schemas.microsoft.com/office/powerpoint/2010/main" val="2873272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685" r:id="rId2"/>
    <p:sldLayoutId id="2147483662" r:id="rId3"/>
    <p:sldLayoutId id="2147483695" r:id="rId4"/>
    <p:sldLayoutId id="2147483696" r:id="rId5"/>
    <p:sldLayoutId id="2147483676" r:id="rId6"/>
    <p:sldLayoutId id="2147483697" r:id="rId7"/>
    <p:sldLayoutId id="2147483698" r:id="rId8"/>
    <p:sldLayoutId id="2147483678" r:id="rId9"/>
    <p:sldLayoutId id="2147483679" r:id="rId10"/>
    <p:sldLayoutId id="2147483681" r:id="rId11"/>
    <p:sldLayoutId id="2147483682" r:id="rId12"/>
    <p:sldLayoutId id="2147483683" r:id="rId13"/>
    <p:sldLayoutId id="2147483684" r:id="rId14"/>
    <p:sldLayoutId id="2147483680" r:id="rId15"/>
    <p:sldLayoutId id="2147483688" r:id="rId16"/>
    <p:sldLayoutId id="2147483692" r:id="rId17"/>
    <p:sldLayoutId id="2147483701" r:id="rId1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</p:titleStyle>
    <p:bodyStyle>
      <a:lvl1pPr marL="36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  <a:lvl2pPr marL="72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2pPr>
      <a:lvl3pPr marL="108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3pPr>
      <a:lvl4pPr marL="144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4pPr>
      <a:lvl5pPr marL="180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2" userDrawn="1">
          <p15:clr>
            <a:srgbClr val="F26B43"/>
          </p15:clr>
        </p15:guide>
        <p15:guide id="2" pos="442" userDrawn="1">
          <p15:clr>
            <a:srgbClr val="F26B43"/>
          </p15:clr>
        </p15:guide>
        <p15:guide id="3" pos="11078" userDrawn="1">
          <p15:clr>
            <a:srgbClr val="F26B43"/>
          </p15:clr>
        </p15:guide>
        <p15:guide id="4" orient="horz" pos="1008" userDrawn="1">
          <p15:clr>
            <a:srgbClr val="F26B43"/>
          </p15:clr>
        </p15:guide>
        <p15:guide id="5" orient="horz" pos="1190" userDrawn="1">
          <p15:clr>
            <a:srgbClr val="F26B43"/>
          </p15:clr>
        </p15:guide>
        <p15:guide id="6" orient="horz" pos="6278" userDrawn="1">
          <p15:clr>
            <a:srgbClr val="F26B43"/>
          </p15:clr>
        </p15:guide>
        <p15:guide id="7" orient="horz" pos="58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3.xml"/><Relationship Id="rId6" Type="http://schemas.openxmlformats.org/officeDocument/2006/relationships/image" Target="../media/image19.png"/><Relationship Id="rId5" Type="http://schemas.microsoft.com/office/2014/relationships/chartEx" Target="../charts/chartEx1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018BC13-13DF-3988-687B-D56AC207C9F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think-cell data - do not delete" hidden="1">
            <a:extLst>
              <a:ext uri="{FF2B5EF4-FFF2-40B4-BE49-F238E27FC236}">
                <a16:creationId xmlns:a16="http://schemas.microsoft.com/office/drawing/2014/main" id="{B18801C9-D7CB-4D11-946D-062F45771A8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18801C9-D7CB-4D11-946D-062F45771A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F197E4C-FFB0-1D2A-3AB9-DB8396ABA1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Waterfal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8BEFFA3-27BC-4E0D-A9A9-B396FE9CDD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8826A6-10E4-5AFA-DEAA-4C7BFE87D331}"/>
              </a:ext>
            </a:extLst>
          </p:cNvPr>
          <p:cNvSpPr txBox="1"/>
          <p:nvPr/>
        </p:nvSpPr>
        <p:spPr>
          <a:xfrm>
            <a:off x="627083" y="1587818"/>
            <a:ext cx="16571688" cy="41549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4000" b="1">
                <a:solidFill>
                  <a:schemeClr val="accent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sz="2700" dirty="0">
                <a:solidFill>
                  <a:schemeClr val="tx1"/>
                </a:solidFill>
              </a:rPr>
              <a:t>Chart Title </a:t>
            </a:r>
            <a:endParaRPr lang="de-DE" sz="2700" dirty="0">
              <a:solidFill>
                <a:schemeClr val="tx1"/>
              </a:solidFill>
            </a:endParaRPr>
          </a:p>
        </p:txBody>
      </p:sp>
      <mc:AlternateContent xmlns:mc="http://schemas.openxmlformats.org/markup-compatibility/2006" xmlns:cx4="http://schemas.microsoft.com/office/drawing/2016/5/10/chartex">
        <mc:Choice Requires="cx4">
          <p:graphicFrame>
            <p:nvGraphicFramePr>
              <p:cNvPr id="6" name="Content Placeholder 33">
                <a:extLst>
                  <a:ext uri="{FF2B5EF4-FFF2-40B4-BE49-F238E27FC236}">
                    <a16:creationId xmlns:a16="http://schemas.microsoft.com/office/drawing/2014/main" id="{D977F0CF-95E7-20F3-C78A-F741FBEB230C}"/>
                  </a:ext>
                </a:extLst>
              </p:cNvPr>
              <p:cNvGraphicFramePr>
                <a:graphicFrameLocks/>
              </p:cNvGraphicFramePr>
              <p:nvPr/>
            </p:nvGraphicFramePr>
            <p:xfrm>
              <a:off x="644306" y="2586942"/>
              <a:ext cx="16999386" cy="6747558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5"/>
              </a:graphicData>
            </a:graphic>
          </p:graphicFrame>
        </mc:Choice>
        <mc:Fallback xmlns="">
          <p:pic>
            <p:nvPicPr>
              <p:cNvPr id="6" name="Content Placeholder 33">
                <a:extLst>
                  <a:ext uri="{FF2B5EF4-FFF2-40B4-BE49-F238E27FC236}">
                    <a16:creationId xmlns:a16="http://schemas.microsoft.com/office/drawing/2014/main" id="{D977F0CF-95E7-20F3-C78A-F741FBEB230C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644306" y="2586942"/>
                <a:ext cx="16999386" cy="6747558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7153667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AnalystAcademy">
      <a:dk1>
        <a:sysClr val="windowText" lastClr="000000"/>
      </a:dk1>
      <a:lt1>
        <a:sysClr val="window" lastClr="FFFFFF"/>
      </a:lt1>
      <a:dk2>
        <a:srgbClr val="121418"/>
      </a:dk2>
      <a:lt2>
        <a:srgbClr val="FFFFFF"/>
      </a:lt2>
      <a:accent1>
        <a:srgbClr val="04162B"/>
      </a:accent1>
      <a:accent2>
        <a:srgbClr val="359CD5"/>
      </a:accent2>
      <a:accent3>
        <a:srgbClr val="DCDCDC"/>
      </a:accent3>
      <a:accent4>
        <a:srgbClr val="5C946E"/>
      </a:accent4>
      <a:accent5>
        <a:srgbClr val="F4B400"/>
      </a:accent5>
      <a:accent6>
        <a:srgbClr val="E67E22"/>
      </a:accent6>
      <a:hlink>
        <a:srgbClr val="002060"/>
      </a:hlink>
      <a:folHlink>
        <a:srgbClr val="0070C0"/>
      </a:folHlink>
    </a:clrScheme>
    <a:fontScheme name="Analyst Academ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52</TotalTime>
  <Words>4</Words>
  <Application>Microsoft Office PowerPoint</Application>
  <PresentationFormat>Custom</PresentationFormat>
  <Paragraphs>3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Crimson Pro</vt:lpstr>
      <vt:lpstr>Aptos</vt:lpstr>
      <vt:lpstr>Symbol</vt:lpstr>
      <vt:lpstr>Arial</vt:lpstr>
      <vt:lpstr>Custom Design</vt:lpstr>
      <vt:lpstr>think-cell Slide</vt:lpstr>
      <vt:lpstr>Waterfall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alyst Academy Template</dc:title>
  <dc:subject/>
  <dc:creator>Analyst Academy LLC</dc:creator>
  <cp:keywords/>
  <dc:description/>
  <cp:lastModifiedBy>Diam Cabatay</cp:lastModifiedBy>
  <cp:revision>373</cp:revision>
  <dcterms:created xsi:type="dcterms:W3CDTF">2006-08-16T00:00:00Z</dcterms:created>
  <dcterms:modified xsi:type="dcterms:W3CDTF">2025-10-06T09:58:03Z</dcterms:modified>
  <cp:category/>
  <dc:identifier>DAGkDf5R9EM</dc:identifier>
</cp:coreProperties>
</file>